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  <p:sldMasterId id="2147483695" r:id="rId6"/>
  </p:sldMasterIdLst>
  <p:notesMasterIdLst>
    <p:notesMasterId r:id="rId17"/>
  </p:notesMasterIdLst>
  <p:sldIdLst>
    <p:sldId id="2147468088" r:id="rId7"/>
    <p:sldId id="2147468085" r:id="rId8"/>
    <p:sldId id="2147468103" r:id="rId9"/>
    <p:sldId id="2147468307" r:id="rId10"/>
    <p:sldId id="2147468306" r:id="rId11"/>
    <p:sldId id="2147468304" r:id="rId12"/>
    <p:sldId id="2147468305" r:id="rId13"/>
    <p:sldId id="2147468296" r:id="rId14"/>
    <p:sldId id="2147468302" r:id="rId15"/>
    <p:sldId id="2147468303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>
        <p:scale>
          <a:sx n="120" d="100"/>
          <a:sy n="120" d="100"/>
        </p:scale>
        <p:origin x="800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77B42A-8891-4AD3-8C0B-E2B03FCBC95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287D2A-BA5A-4597-AB46-00B18107E7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591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E9FEE9-D6EB-4278-8854-5F7845042CB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312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E9FEE9-D6EB-4278-8854-5F7845042CB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402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E9FEE9-D6EB-4278-8854-5F7845042CB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851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D034A7-9452-C54E-A651-2368A59695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8674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E9FEE9-D6EB-4278-8854-5F7845042CB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98441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E9FEE9-D6EB-4278-8854-5F7845042CBF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678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0D2C2-7F88-4FDE-964D-0CD4E5BF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76A3FF-2917-4F68-A7E2-9E5F88B0D4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3B1097-A899-4005-8A76-90F298FE7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E4D22A-520C-4268-80B1-2B49B0575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646B4F-EC7A-4743-AB1D-F51A2F8E6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6044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73298-E43E-4C82-ADF7-256CBB982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D9417C-C3C6-4B83-9CC2-E3F34AEB82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CF55-0B94-40EF-B4CC-10F8CF1C5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C79F6-FA48-4AAE-80D5-6EE953ECC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0192F4-3991-46F9-BA8D-11D6E08ED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688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837D81-3A94-4D94-8DA1-C38B94E515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D45742-C4D4-4B39-A60F-03228285BE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B8D70-C361-4224-BDB4-F08307530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614AC-063C-4E88-BEB2-1EFDCFBD7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44C35-7EFF-49E9-B77D-9A3D8A983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136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69900" y="1152524"/>
            <a:ext cx="11252200" cy="5037963"/>
          </a:xfrm>
        </p:spPr>
        <p:txBody>
          <a:bodyPr/>
          <a:lstStyle>
            <a:lvl1pPr>
              <a:spcBef>
                <a:spcPts val="600"/>
              </a:spcBef>
              <a:buClrTx/>
              <a:defRPr sz="1800">
                <a:solidFill>
                  <a:srgbClr val="000000"/>
                </a:solidFill>
                <a:latin typeface="Palatino Linotype" pitchFamily="18" charset="0"/>
              </a:defRPr>
            </a:lvl1pPr>
            <a:lvl2pPr marL="514350" indent="-282575">
              <a:spcBef>
                <a:spcPts val="600"/>
              </a:spcBef>
              <a:buClrTx/>
              <a:defRPr sz="1600">
                <a:solidFill>
                  <a:srgbClr val="000000"/>
                </a:solidFill>
                <a:latin typeface="Palatino Linotype" pitchFamily="18" charset="0"/>
              </a:defRPr>
            </a:lvl2pPr>
            <a:lvl3pPr marL="746125" indent="-231775">
              <a:spcBef>
                <a:spcPts val="600"/>
              </a:spcBef>
              <a:buClrTx/>
              <a:buFont typeface="Palatino Linotype" pitchFamily="18" charset="0"/>
              <a:buChar char="»"/>
              <a:defRPr sz="1400">
                <a:solidFill>
                  <a:srgbClr val="000000"/>
                </a:solidFill>
                <a:latin typeface="Palatino Linotype" pitchFamily="18" charset="0"/>
              </a:defRPr>
            </a:lvl3pPr>
            <a:lvl4pPr marL="1030288" indent="-284163">
              <a:spcBef>
                <a:spcPts val="600"/>
              </a:spcBef>
              <a:buClrTx/>
              <a:defRPr sz="1600">
                <a:solidFill>
                  <a:srgbClr val="000000"/>
                </a:solidFill>
                <a:latin typeface="Palatino Linotype" pitchFamily="18" charset="0"/>
              </a:defRPr>
            </a:lvl4pPr>
            <a:lvl5pPr marL="1260475" indent="-230188">
              <a:spcBef>
                <a:spcPts val="600"/>
              </a:spcBef>
              <a:buClrTx/>
              <a:defRPr sz="1600">
                <a:solidFill>
                  <a:srgbClr val="000000"/>
                </a:solidFill>
                <a:latin typeface="Palatino Linotype" pitchFamily="18" charset="0"/>
              </a:defRPr>
            </a:lvl5pPr>
          </a:lstStyle>
          <a:p>
            <a:pPr lvl="0"/>
            <a:r>
              <a:rPr lang="en-US"/>
              <a:t>Bulleted text – Palatino 18pt Regular</a:t>
            </a:r>
            <a:br>
              <a:rPr lang="en-US"/>
            </a:br>
            <a:r>
              <a:rPr lang="en-US"/>
              <a:t>(Hit Enter then Tab to get to the next bullet level)</a:t>
            </a:r>
          </a:p>
          <a:p>
            <a:pPr lvl="1"/>
            <a:r>
              <a:rPr lang="en-US"/>
              <a:t>Second level 16pt Regular</a:t>
            </a:r>
          </a:p>
          <a:p>
            <a:pPr lvl="2"/>
            <a:r>
              <a:rPr lang="en-US"/>
              <a:t>Third level 14pt Regular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76854" y="5973942"/>
            <a:ext cx="5894916" cy="320040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114300" indent="-114300" algn="l">
              <a:spcBef>
                <a:spcPts val="0"/>
              </a:spcBef>
              <a:buFont typeface="+mj-lt"/>
              <a:buAutoNum type="arabicParenR"/>
              <a:defRPr sz="800" baseline="0">
                <a:latin typeface="Palatino Linotype" pitchFamily="18" charset="0"/>
              </a:defRPr>
            </a:lvl1pPr>
            <a:lvl2pPr algn="l">
              <a:buNone/>
              <a:defRPr sz="600"/>
            </a:lvl2pPr>
            <a:lvl3pPr algn="l">
              <a:buNone/>
              <a:defRPr sz="600"/>
            </a:lvl3pPr>
            <a:lvl4pPr algn="l">
              <a:buNone/>
              <a:defRPr sz="600"/>
            </a:lvl4pPr>
            <a:lvl5pPr algn="l">
              <a:buNone/>
              <a:defRPr sz="600"/>
            </a:lvl5pPr>
          </a:lstStyle>
          <a:p>
            <a:pPr lvl="0"/>
            <a:r>
              <a:rPr lang="en-US"/>
              <a:t>Click to add footnote. Numbers appear automatically (no additional space or tab needed). Use a period at the end of each footnote. Stretch the box to the right as needed.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76854" y="6293982"/>
            <a:ext cx="4414345" cy="320040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800" baseline="0">
                <a:latin typeface="Palatino Linotype" pitchFamily="18" charset="0"/>
              </a:defRPr>
            </a:lvl1pPr>
            <a:lvl2pPr algn="l">
              <a:buNone/>
              <a:defRPr sz="600"/>
            </a:lvl2pPr>
            <a:lvl3pPr algn="l">
              <a:buNone/>
              <a:defRPr sz="600"/>
            </a:lvl3pPr>
            <a:lvl4pPr algn="l">
              <a:buNone/>
              <a:defRPr sz="600"/>
            </a:lvl4pPr>
            <a:lvl5pPr algn="l">
              <a:buNone/>
              <a:defRPr sz="600"/>
            </a:lvl5pPr>
          </a:lstStyle>
          <a:p>
            <a:pPr lvl="0"/>
            <a:r>
              <a:rPr lang="en-US"/>
              <a:t>Source: Click to add source. Use a single space after “Source:” and a period at the end of the source. Stretch the box to the left as needed.</a:t>
            </a:r>
          </a:p>
        </p:txBody>
      </p:sp>
      <p:sp>
        <p:nvSpPr>
          <p:cNvPr id="9" name="Title 10"/>
          <p:cNvSpPr>
            <a:spLocks noGrp="1"/>
          </p:cNvSpPr>
          <p:nvPr>
            <p:ph type="title" hasCustomPrompt="1"/>
          </p:nvPr>
        </p:nvSpPr>
        <p:spPr>
          <a:xfrm>
            <a:off x="609600" y="128837"/>
            <a:ext cx="10972800" cy="778248"/>
          </a:xfrm>
          <a:prstGeom prst="rect">
            <a:avLst/>
          </a:prstGeom>
        </p:spPr>
        <p:txBody>
          <a:bodyPr anchor="b"/>
          <a:lstStyle>
            <a:lvl1pPr>
              <a:defRPr i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Title Palatino 24pt Bold</a:t>
            </a:r>
          </a:p>
        </p:txBody>
      </p:sp>
    </p:spTree>
    <p:extLst>
      <p:ext uri="{BB962C8B-B14F-4D97-AF65-F5344CB8AC3E}">
        <p14:creationId xmlns:p14="http://schemas.microsoft.com/office/powerpoint/2010/main" val="24147026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02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23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639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8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396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64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031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5B3F4-355A-41D9-831F-A923D1BED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C8C42D-5615-40FE-B51F-BA7CBD0D1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339397-3D0D-4E80-B653-9DE437575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1F8F0-A4D1-4F38-AD38-D7178DEDC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BBCD64-1E1B-4C28-AAF9-7D1A73551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6059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9591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52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3902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41612012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500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0004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8796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69900" y="1152524"/>
            <a:ext cx="11252200" cy="5037963"/>
          </a:xfrm>
        </p:spPr>
        <p:txBody>
          <a:bodyPr/>
          <a:lstStyle>
            <a:lvl1pPr>
              <a:spcBef>
                <a:spcPts val="600"/>
              </a:spcBef>
              <a:buClrTx/>
              <a:defRPr sz="1800">
                <a:solidFill>
                  <a:srgbClr val="000000"/>
                </a:solidFill>
                <a:latin typeface="Palatino Linotype" pitchFamily="18" charset="0"/>
              </a:defRPr>
            </a:lvl1pPr>
            <a:lvl2pPr marL="514350" indent="-282575">
              <a:spcBef>
                <a:spcPts val="600"/>
              </a:spcBef>
              <a:buClrTx/>
              <a:defRPr sz="1600">
                <a:solidFill>
                  <a:srgbClr val="000000"/>
                </a:solidFill>
                <a:latin typeface="Palatino Linotype" pitchFamily="18" charset="0"/>
              </a:defRPr>
            </a:lvl2pPr>
            <a:lvl3pPr marL="746125" indent="-231775">
              <a:spcBef>
                <a:spcPts val="600"/>
              </a:spcBef>
              <a:buClrTx/>
              <a:buFont typeface="Palatino Linotype" pitchFamily="18" charset="0"/>
              <a:buChar char="»"/>
              <a:defRPr sz="1400">
                <a:solidFill>
                  <a:srgbClr val="000000"/>
                </a:solidFill>
                <a:latin typeface="Palatino Linotype" pitchFamily="18" charset="0"/>
              </a:defRPr>
            </a:lvl3pPr>
            <a:lvl4pPr marL="1030288" indent="-284163">
              <a:spcBef>
                <a:spcPts val="600"/>
              </a:spcBef>
              <a:buClrTx/>
              <a:defRPr sz="1600">
                <a:solidFill>
                  <a:srgbClr val="000000"/>
                </a:solidFill>
                <a:latin typeface="Palatino Linotype" pitchFamily="18" charset="0"/>
              </a:defRPr>
            </a:lvl4pPr>
            <a:lvl5pPr marL="1260475" indent="-230188">
              <a:spcBef>
                <a:spcPts val="600"/>
              </a:spcBef>
              <a:buClrTx/>
              <a:defRPr sz="1600">
                <a:solidFill>
                  <a:srgbClr val="000000"/>
                </a:solidFill>
                <a:latin typeface="Palatino Linotype" pitchFamily="18" charset="0"/>
              </a:defRPr>
            </a:lvl5pPr>
          </a:lstStyle>
          <a:p>
            <a:pPr lvl="0"/>
            <a:r>
              <a:rPr lang="en-US"/>
              <a:t>Bulleted text – Palatino 18pt Regular</a:t>
            </a:r>
            <a:br>
              <a:rPr lang="en-US"/>
            </a:br>
            <a:r>
              <a:rPr lang="en-US"/>
              <a:t>(Hit Enter then Tab to get to the next bullet level)</a:t>
            </a:r>
          </a:p>
          <a:p>
            <a:pPr lvl="1"/>
            <a:r>
              <a:rPr lang="en-US"/>
              <a:t>Second level 16pt Regular</a:t>
            </a:r>
          </a:p>
          <a:p>
            <a:pPr lvl="2"/>
            <a:r>
              <a:rPr lang="en-US"/>
              <a:t>Third level 14pt Regular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76854" y="5973942"/>
            <a:ext cx="5894916" cy="320040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114300" indent="-114300" algn="l">
              <a:spcBef>
                <a:spcPts val="0"/>
              </a:spcBef>
              <a:buFont typeface="+mj-lt"/>
              <a:buAutoNum type="arabicParenR"/>
              <a:defRPr sz="800" baseline="0">
                <a:latin typeface="Palatino Linotype" pitchFamily="18" charset="0"/>
              </a:defRPr>
            </a:lvl1pPr>
            <a:lvl2pPr algn="l">
              <a:buNone/>
              <a:defRPr sz="600"/>
            </a:lvl2pPr>
            <a:lvl3pPr algn="l">
              <a:buNone/>
              <a:defRPr sz="600"/>
            </a:lvl3pPr>
            <a:lvl4pPr algn="l">
              <a:buNone/>
              <a:defRPr sz="600"/>
            </a:lvl4pPr>
            <a:lvl5pPr algn="l">
              <a:buNone/>
              <a:defRPr sz="600"/>
            </a:lvl5pPr>
          </a:lstStyle>
          <a:p>
            <a:pPr lvl="0"/>
            <a:r>
              <a:rPr lang="en-US"/>
              <a:t>Click to add footnote. Numbers appear automatically (no additional space or tab needed). Use a period at the end of each footnote. Stretch the box to the right as needed.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76854" y="6293982"/>
            <a:ext cx="4414345" cy="320040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800" baseline="0">
                <a:latin typeface="Palatino Linotype" pitchFamily="18" charset="0"/>
              </a:defRPr>
            </a:lvl1pPr>
            <a:lvl2pPr algn="l">
              <a:buNone/>
              <a:defRPr sz="600"/>
            </a:lvl2pPr>
            <a:lvl3pPr algn="l">
              <a:buNone/>
              <a:defRPr sz="600"/>
            </a:lvl3pPr>
            <a:lvl4pPr algn="l">
              <a:buNone/>
              <a:defRPr sz="600"/>
            </a:lvl4pPr>
            <a:lvl5pPr algn="l">
              <a:buNone/>
              <a:defRPr sz="600"/>
            </a:lvl5pPr>
          </a:lstStyle>
          <a:p>
            <a:pPr lvl="0"/>
            <a:r>
              <a:rPr lang="en-US"/>
              <a:t>Source: Click to add source. Use a single space after “Source:” and a period at the end of the source. Stretch the box to the left as needed.</a:t>
            </a:r>
          </a:p>
        </p:txBody>
      </p:sp>
      <p:sp>
        <p:nvSpPr>
          <p:cNvPr id="9" name="Title 10"/>
          <p:cNvSpPr>
            <a:spLocks noGrp="1"/>
          </p:cNvSpPr>
          <p:nvPr>
            <p:ph type="title" hasCustomPrompt="1"/>
          </p:nvPr>
        </p:nvSpPr>
        <p:spPr>
          <a:xfrm>
            <a:off x="609600" y="128837"/>
            <a:ext cx="10972800" cy="778248"/>
          </a:xfrm>
          <a:prstGeom prst="rect">
            <a:avLst/>
          </a:prstGeom>
        </p:spPr>
        <p:txBody>
          <a:bodyPr anchor="b"/>
          <a:lstStyle>
            <a:lvl1pPr>
              <a:defRPr i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Title Palatino 24pt Bold</a:t>
            </a:r>
          </a:p>
        </p:txBody>
      </p:sp>
    </p:spTree>
    <p:extLst>
      <p:ext uri="{BB962C8B-B14F-4D97-AF65-F5344CB8AC3E}">
        <p14:creationId xmlns:p14="http://schemas.microsoft.com/office/powerpoint/2010/main" val="26920011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132601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D1AF4-F59A-48CB-BC3D-681F62D85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B09574-395F-459D-A268-9A4A1F1286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C86937-846A-4B29-8823-4D4AF992A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0049E1-188D-441E-B4A3-F38ADF3C0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897407-2B07-468F-963C-E019FBBA75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90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984612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412019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039467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1093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00071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994703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7199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581265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031580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791303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F17E5-E59A-4042-849A-20FEDFD51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846F6D-43BD-4F2D-985F-3C435BCD0A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E3F07D-D1B8-4FE6-902D-0BD663563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FCDCF3-F7F5-42C8-98A3-73E7C97D9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C2F149-525B-4158-8ADA-20A47783F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8AD8E3-627C-4D45-AF95-D5277DC24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2447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8887777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1633762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ata and Analytics Organizatio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8242047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504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C75B5B-F0D0-41B0-A78F-807CF61E2F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40FAE3-0EC3-4715-AD9D-05CF338AF5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F589B3-DBD9-4371-96B3-C7A2727BDD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D023-DF3B-4A9A-B12D-188C715DB8F5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B03BD6-38BF-498B-8820-07D2196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2CADB8-154B-413A-946C-27FD4E05E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52E9C3-ECCF-46B8-9F9C-467709DCD4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894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F1ED0-1067-4985-8C10-5D2D7D88B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9E050B-C731-455D-AB53-0F50D2F40F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A560D8-A523-4595-A57F-13807C44F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FBDC87-0ADB-4DBA-BC9E-7DF4F9FDC5D2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A0FEA8-E843-40DA-B060-F4274A55B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9D2183-D325-4BF8-84A0-900A6F292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B42B5-F439-499F-88A5-FFFE9F39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095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B1A5-5170-4141-9603-25A703296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C28BD8-BB70-4FE2-B285-36FC6C57DB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55E1F-B5E4-40E0-9F18-72EDD88E1F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20E7E0-6620-49ED-AF17-66A59B130F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326F52-BE29-484D-B396-59C9CB8687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B5F825-98F2-45ED-ACC8-0B35B2871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661FA4-B6AA-460B-B58D-F159D4C88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F9871-BB43-452E-BBD8-5BCA2774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065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A7125-F585-4B9F-8511-9F40D6543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7A5504-1477-4B5F-B833-EE72B542C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2AC187-FC53-41F3-ABE5-CB24DB544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61E79E-0802-4A3E-9584-68DEF09CE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9242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E743E5-6190-40E8-8F71-97CC29A32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339CDA-93FF-4DC1-ADEE-6BD8708C0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99A13-9A8D-44E8-9877-9CB337CE2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242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310AD-C14F-4621-A069-024D876D6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B7C8AA-EB92-4943-9C0B-09BEF6B6F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5CE638-21FE-4D5D-BA92-B1CE2E3F1A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A19DE8-4D66-4911-87A9-5B6638B53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694A47-21FD-4A5B-AA8C-FBBF6C0D3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3B4F46-53E5-44F9-ACBD-8EE95B746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48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09C0C-A522-4B9E-83CF-67F9119A0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E71B42-5D58-479E-AD1B-E57EBCCE49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A350F-73B2-4702-986C-0A58652B81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D7E603-B464-4EAB-8507-CF2589121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8DDE19-D1FF-4F7C-B2F7-76D87284D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229780-708E-4CE6-A4B3-CD3956FBB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907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342AF8-C97C-4FF3-ADFA-ABDA7E6EF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8F0AF6-ACE9-46B7-87B9-B90FF3280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EF5279-524E-4927-88D7-2B1573E684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A9257A-F3C0-4962-8B20-809CB496CB3D}" type="datetimeFigureOut">
              <a:rPr lang="en-US" smtClean="0"/>
              <a:t>8/2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CB63ED-6DE4-4364-9659-FE6480F4C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E8A1C9-86D4-49C1-8C57-A32861712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D918FC-1CE3-4C34-BECF-168C6C414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34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6406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ata and Analytics Organization  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23307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2" r:id="rId16"/>
    <p:sldLayoutId id="2147483713" r:id="rId1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12CBF66-B468-4720-9DF9-9ED818E1363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87268" y="1111428"/>
            <a:ext cx="10644414" cy="5037963"/>
          </a:xfrm>
        </p:spPr>
        <p:txBody>
          <a:bodyPr/>
          <a:lstStyle/>
          <a:p>
            <a:pPr marL="285750" indent="-285750">
              <a:spcBef>
                <a:spcPts val="400"/>
              </a:spcBef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+mj-lt"/>
            </a:endParaRPr>
          </a:p>
          <a:p>
            <a:pPr marL="342900" indent="-34290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Objectives</a:t>
            </a:r>
          </a:p>
          <a:p>
            <a:pPr marL="342900" indent="-34290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Current State: Databricks Clusters in DEV</a:t>
            </a:r>
          </a:p>
          <a:p>
            <a:pPr marL="342900" indent="-34290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Unity Catalog differentiator : Without and With</a:t>
            </a:r>
          </a:p>
          <a:p>
            <a:pPr marL="342900" indent="-34290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Unity Catalog: Architecture</a:t>
            </a:r>
          </a:p>
          <a:p>
            <a:pPr marL="342900" indent="-34290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Next Steps and Timelines</a:t>
            </a:r>
          </a:p>
          <a:p>
            <a:pPr marL="285750" indent="-285750">
              <a:spcBef>
                <a:spcPts val="400"/>
              </a:spcBef>
              <a:buFont typeface="Georgia" panose="02040502050405020303" pitchFamily="18" charset="0"/>
              <a:buChar char="―"/>
            </a:pP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spcBef>
                <a:spcPts val="400"/>
              </a:spcBef>
              <a:buFont typeface="Georgia" panose="02040502050405020303" pitchFamily="18" charset="0"/>
              <a:buChar char="―"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83C46CB-EBC6-438A-A3B0-4AE61A48D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75" y="319485"/>
            <a:ext cx="10972800" cy="7782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b="1">
                <a:solidFill>
                  <a:schemeClr val="tx1"/>
                </a:solidFill>
                <a:latin typeface="Calibri Light (Headings)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1771851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Title 1">
            <a:extLst>
              <a:ext uri="{FF2B5EF4-FFF2-40B4-BE49-F238E27FC236}">
                <a16:creationId xmlns:a16="http://schemas.microsoft.com/office/drawing/2014/main" id="{7ABAB130-2385-4DF7-9B5B-EB8878EBCFA7}"/>
              </a:ext>
            </a:extLst>
          </p:cNvPr>
          <p:cNvSpPr txBox="1">
            <a:spLocks/>
          </p:cNvSpPr>
          <p:nvPr/>
        </p:nvSpPr>
        <p:spPr>
          <a:xfrm>
            <a:off x="838199" y="291090"/>
            <a:ext cx="10515599" cy="9326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Understanding Unity Catalog: Centralized Control</a:t>
            </a:r>
          </a:p>
        </p:txBody>
      </p:sp>
      <p:pic>
        <p:nvPicPr>
          <p:cNvPr id="82946" name="Picture 6">
            <a:extLst>
              <a:ext uri="{FF2B5EF4-FFF2-40B4-BE49-F238E27FC236}">
                <a16:creationId xmlns:a16="http://schemas.microsoft.com/office/drawing/2014/main" id="{3D67F9A1-2C98-447D-97B2-B4AAA52937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2706" y="1467194"/>
            <a:ext cx="8261855" cy="4440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2482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44EBF54-F3D4-4A4A-9B89-E1E3CADEAF3A}"/>
              </a:ext>
            </a:extLst>
          </p:cNvPr>
          <p:cNvSpPr/>
          <p:nvPr/>
        </p:nvSpPr>
        <p:spPr>
          <a:xfrm>
            <a:off x="6306163" y="1468256"/>
            <a:ext cx="5120640" cy="4114800"/>
          </a:xfrm>
          <a:prstGeom prst="roundRect">
            <a:avLst>
              <a:gd name="adj" fmla="val 10515"/>
            </a:avLst>
          </a:prstGeom>
          <a:noFill/>
          <a:ln w="139700" cmpd="thinThick">
            <a:solidFill>
              <a:srgbClr val="00A0A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48A13A9-F574-4F4B-AD1D-A1E91B758373}"/>
              </a:ext>
            </a:extLst>
          </p:cNvPr>
          <p:cNvSpPr/>
          <p:nvPr/>
        </p:nvSpPr>
        <p:spPr>
          <a:xfrm>
            <a:off x="587828" y="1468257"/>
            <a:ext cx="5120640" cy="4114800"/>
          </a:xfrm>
          <a:prstGeom prst="roundRect">
            <a:avLst>
              <a:gd name="adj" fmla="val 10515"/>
            </a:avLst>
          </a:prstGeom>
          <a:noFill/>
          <a:ln w="139700" cmpd="thinThick">
            <a:solidFill>
              <a:srgbClr val="00A0A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99C9B16-52C1-554B-BB1A-B94D65BF6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70" y="205819"/>
            <a:ext cx="11322935" cy="673361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Calibri Light (Headings)"/>
              </a:rPr>
              <a:t>Objectives 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01D1453D-739A-4D75-8D21-3584935BA636}"/>
              </a:ext>
            </a:extLst>
          </p:cNvPr>
          <p:cNvSpPr txBox="1">
            <a:spLocks/>
          </p:cNvSpPr>
          <p:nvPr/>
        </p:nvSpPr>
        <p:spPr>
          <a:xfrm>
            <a:off x="661114" y="1598007"/>
            <a:ext cx="4969124" cy="3345655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31775" indent="-231775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•"/>
              <a:defRPr kumimoji="0" sz="18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1pPr>
            <a:lvl2pPr marL="514350" indent="-282575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kumimoji="0"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2pPr>
            <a:lvl3pPr marL="746125" indent="-231775" algn="l" rtl="0" eaLnBrk="1" latinLnBrk="0" hangingPunct="1">
              <a:spcBef>
                <a:spcPts val="600"/>
              </a:spcBef>
              <a:buClrTx/>
              <a:buSzPct val="100000"/>
              <a:buFont typeface="Palatino Linotype" pitchFamily="18" charset="0"/>
              <a:buChar char="»"/>
              <a:defRPr kumimoji="0" sz="14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3pPr>
            <a:lvl4pPr marL="1030288" indent="-284163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kumimoji="0"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4pPr>
            <a:lvl5pPr marL="1260475" indent="-230188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•"/>
              <a:defRPr kumimoji="0"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yperscale clusters, which have been deprecated* by Databricks, are used to provide data security for Hive tables in the refined zone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ser management, metadata, and access control for Hyperscale clusters are not handled centrally, but rather at the workspace level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n additional cluster is required to handle the external Hive meta-store.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dirty="0">
                <a:latin typeface="Calibri" panose="020F0502020204030204" pitchFamily="34" charset="0"/>
                <a:cs typeface="Calibri"/>
              </a:rPr>
              <a:t>Hive is not tightly integrated with Databricks thus lags enterprise level security.	</a:t>
            </a:r>
            <a:endParaRPr lang="en-US" dirty="0">
              <a:latin typeface="Calibri"/>
              <a:cs typeface="Calibri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AABB41DC-F800-4ACC-BB93-BF3BCC988E6D}"/>
              </a:ext>
            </a:extLst>
          </p:cNvPr>
          <p:cNvSpPr txBox="1">
            <a:spLocks/>
          </p:cNvSpPr>
          <p:nvPr/>
        </p:nvSpPr>
        <p:spPr>
          <a:xfrm>
            <a:off x="6483534" y="1588003"/>
            <a:ext cx="4888446" cy="3539165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31775" indent="-231775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•"/>
              <a:defRPr kumimoji="0" sz="18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1pPr>
            <a:lvl2pPr marL="514350" indent="-282575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kumimoji="0"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2pPr>
            <a:lvl3pPr marL="746125" indent="-231775" algn="l" rtl="0" eaLnBrk="1" latinLnBrk="0" hangingPunct="1">
              <a:spcBef>
                <a:spcPts val="600"/>
              </a:spcBef>
              <a:buClrTx/>
              <a:buSzPct val="100000"/>
              <a:buFont typeface="Palatino Linotype" pitchFamily="18" charset="0"/>
              <a:buChar char="»"/>
              <a:defRPr kumimoji="0" sz="14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3pPr>
            <a:lvl4pPr marL="1030288" indent="-284163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kumimoji="0"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4pPr>
            <a:lvl5pPr marL="1260475" indent="-230188" algn="l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•"/>
              <a:defRPr kumimoji="0"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Palatino Linotype" pitchFamily="18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ser management, metadata, and access control are managed at account level; thus, security is centralized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ince Unity </a:t>
            </a:r>
            <a:r>
              <a:rPr lang="en-GB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talog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is tightly integrated with Databricks it provides enhanced data security and governance capabilities, including data lineage tracking, data discovery, and access control 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</a:rPr>
              <a:t>within Databricks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which are not available in Hive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nity Catalog integrates with Collibra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t gives complete control over across DEV, PRE-PROD, and PROD data assets on Data Lake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en-US" dirty="0">
              <a:latin typeface="Calibri"/>
              <a:cs typeface="Calibri"/>
            </a:endParaRPr>
          </a:p>
          <a:p>
            <a:pPr marL="0" indent="0" fontAlgn="ctr">
              <a:spcBef>
                <a:spcPts val="0"/>
              </a:spcBef>
              <a:buNone/>
              <a:defRPr/>
            </a:pPr>
            <a:endParaRPr lang="en-US" dirty="0">
              <a:latin typeface="Calibri"/>
              <a:cs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9092C8B-31B4-4B07-B3A0-F2FE7B917D02}"/>
              </a:ext>
            </a:extLst>
          </p:cNvPr>
          <p:cNvSpPr/>
          <p:nvPr/>
        </p:nvSpPr>
        <p:spPr>
          <a:xfrm>
            <a:off x="445781" y="1250307"/>
            <a:ext cx="3840480" cy="485847"/>
          </a:xfrm>
          <a:prstGeom prst="roundRect">
            <a:avLst/>
          </a:prstGeom>
          <a:solidFill>
            <a:srgbClr val="00B7C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51FB69-59DD-4282-9D03-625F02523D44}"/>
              </a:ext>
            </a:extLst>
          </p:cNvPr>
          <p:cNvSpPr txBox="1"/>
          <p:nvPr/>
        </p:nvSpPr>
        <p:spPr>
          <a:xfrm>
            <a:off x="563261" y="1272079"/>
            <a:ext cx="22249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Calibri"/>
              </a:rPr>
              <a:t>Problem State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3D639C6-1A64-4A5F-84CA-DFB788C64CB1}"/>
              </a:ext>
            </a:extLst>
          </p:cNvPr>
          <p:cNvSpPr/>
          <p:nvPr/>
        </p:nvSpPr>
        <p:spPr>
          <a:xfrm>
            <a:off x="6123089" y="1245878"/>
            <a:ext cx="5120640" cy="485847"/>
          </a:xfrm>
          <a:prstGeom prst="roundRect">
            <a:avLst/>
          </a:prstGeom>
          <a:solidFill>
            <a:srgbClr val="00A0A8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8B5EE9F-1501-40B7-A6BE-E2213E105C96}"/>
              </a:ext>
            </a:extLst>
          </p:cNvPr>
          <p:cNvSpPr txBox="1"/>
          <p:nvPr/>
        </p:nvSpPr>
        <p:spPr>
          <a:xfrm>
            <a:off x="6187215" y="1275092"/>
            <a:ext cx="512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posed Solution: Upgrade to Unity Catalog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22A3020-F12A-46EA-8396-5439EE6EBCCA}"/>
              </a:ext>
            </a:extLst>
          </p:cNvPr>
          <p:cNvSpPr txBox="1">
            <a:spLocks/>
          </p:cNvSpPr>
          <p:nvPr/>
        </p:nvSpPr>
        <p:spPr>
          <a:xfrm>
            <a:off x="563261" y="5701267"/>
            <a:ext cx="4219787" cy="19947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Calibri"/>
              </a:rPr>
              <a:t>* </a:t>
            </a:r>
            <a:r>
              <a:rPr lang="en-US" sz="1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yperscale clusters</a:t>
            </a:r>
            <a:r>
              <a:rPr lang="en-GB" sz="1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upport is available till march, 2025</a:t>
            </a:r>
            <a:endParaRPr lang="en-US" sz="1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defRPr/>
            </a:pPr>
            <a:endParaRPr lang="en-US" sz="10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11854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C6964-F27C-4EBC-AFA4-FFBAB3685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5" y="298452"/>
            <a:ext cx="11182351" cy="83170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 Light (Headings)"/>
              </a:rPr>
              <a:t>Current State – Databricks Clust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91EF21-C17D-4BF4-BD03-D95267E35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6588" y="1262725"/>
            <a:ext cx="5585051" cy="4332550"/>
          </a:xfrm>
          <a:prstGeom prst="rect">
            <a:avLst/>
          </a:prstGeom>
        </p:spPr>
      </p:pic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C34E3F03-A5EB-4EAD-ACEF-CF5B4DA7E2C8}"/>
              </a:ext>
            </a:extLst>
          </p:cNvPr>
          <p:cNvSpPr txBox="1">
            <a:spLocks/>
          </p:cNvSpPr>
          <p:nvPr/>
        </p:nvSpPr>
        <p:spPr>
          <a:xfrm>
            <a:off x="9576911" y="2482209"/>
            <a:ext cx="2096216" cy="7633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None/>
              <a:defRPr sz="1800" b="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1pPr>
            <a:lvl2pPr marL="514350" indent="-2825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5000"/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2pPr>
            <a:lvl3pPr marL="74612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Palatino Linotype" pitchFamily="18" charset="0"/>
              <a:buChar char="»"/>
              <a:tabLst/>
              <a:defRPr sz="14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3pPr>
            <a:lvl4pPr marL="1030288" indent="-2841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80000"/>
              <a:buFont typeface="Wingdings" pitchFamily="2" charset="2"/>
              <a:buChar char="§"/>
              <a:tabLst/>
              <a:defRPr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4pPr>
            <a:lvl5pPr marL="1260475" indent="-2301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stem Font Regular"/>
              <a:buChar char="–"/>
              <a:tabLst/>
              <a:defRPr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Century Gothic" panose="020B0502020202020204" pitchFamily="34" charset="0"/>
              </a:rPr>
              <a:t>Hyperscale Cluster, provides table level access control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AD8463C7-EEC8-4036-B064-DC442890F34E}"/>
              </a:ext>
            </a:extLst>
          </p:cNvPr>
          <p:cNvSpPr/>
          <p:nvPr/>
        </p:nvSpPr>
        <p:spPr>
          <a:xfrm>
            <a:off x="9478179" y="2438373"/>
            <a:ext cx="2208997" cy="932535"/>
          </a:xfrm>
          <a:prstGeom prst="wedgeRoundRectCallout">
            <a:avLst>
              <a:gd name="adj1" fmla="val -118563"/>
              <a:gd name="adj2" fmla="val 49145"/>
              <a:gd name="adj3" fmla="val 1666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6D40A8F3-C1C1-4E91-82E5-3DD718FEFC96}"/>
              </a:ext>
            </a:extLst>
          </p:cNvPr>
          <p:cNvSpPr txBox="1">
            <a:spLocks/>
          </p:cNvSpPr>
          <p:nvPr/>
        </p:nvSpPr>
        <p:spPr>
          <a:xfrm>
            <a:off x="603556" y="2482209"/>
            <a:ext cx="2096216" cy="7633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None/>
              <a:defRPr sz="1800" b="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1pPr>
            <a:lvl2pPr marL="514350" indent="-2825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5000"/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2pPr>
            <a:lvl3pPr marL="74612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Palatino Linotype" pitchFamily="18" charset="0"/>
              <a:buChar char="»"/>
              <a:tabLst/>
              <a:defRPr sz="14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3pPr>
            <a:lvl4pPr marL="1030288" indent="-2841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80000"/>
              <a:buFont typeface="Wingdings" pitchFamily="2" charset="2"/>
              <a:buChar char="§"/>
              <a:tabLst/>
              <a:defRPr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4pPr>
            <a:lvl5pPr marL="1260475" indent="-2301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stem Font Regular"/>
              <a:buChar char="–"/>
              <a:tabLst/>
              <a:defRPr sz="1600" kern="1200">
                <a:solidFill>
                  <a:srgbClr val="000000"/>
                </a:solidFill>
                <a:latin typeface="Palatino Linotype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Century Gothic" panose="020B0502020202020204" pitchFamily="34" charset="0"/>
              </a:rPr>
              <a:t>Table level security not available other than Hyperscale Cluster</a:t>
            </a: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CC866CD2-4006-4E62-AB60-8DAD70CF49E3}"/>
              </a:ext>
            </a:extLst>
          </p:cNvPr>
          <p:cNvSpPr/>
          <p:nvPr/>
        </p:nvSpPr>
        <p:spPr>
          <a:xfrm>
            <a:off x="504824" y="2438373"/>
            <a:ext cx="2208997" cy="932535"/>
          </a:xfrm>
          <a:prstGeom prst="wedgeRoundRectCallout">
            <a:avLst>
              <a:gd name="adj1" fmla="val 102373"/>
              <a:gd name="adj2" fmla="val 124754"/>
              <a:gd name="adj3" fmla="val 1666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040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A9CB0B-BB6F-46DB-AC60-F6042F961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66233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Consistent Data Security Across all Subscription at MGB</a:t>
            </a:r>
          </a:p>
        </p:txBody>
      </p:sp>
      <p:pic>
        <p:nvPicPr>
          <p:cNvPr id="81922" name="Picture 2" descr="Unity Catalog object model diagram">
            <a:extLst>
              <a:ext uri="{FF2B5EF4-FFF2-40B4-BE49-F238E27FC236}">
                <a16:creationId xmlns:a16="http://schemas.microsoft.com/office/drawing/2014/main" id="{142766E4-AD81-480D-9315-AD6653855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271" y="1162932"/>
            <a:ext cx="4881457" cy="388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Heptagon 3">
            <a:extLst>
              <a:ext uri="{FF2B5EF4-FFF2-40B4-BE49-F238E27FC236}">
                <a16:creationId xmlns:a16="http://schemas.microsoft.com/office/drawing/2014/main" id="{8286F3CA-9BC0-4C8F-AA6C-3154A9AFAF71}"/>
              </a:ext>
            </a:extLst>
          </p:cNvPr>
          <p:cNvSpPr/>
          <p:nvPr/>
        </p:nvSpPr>
        <p:spPr>
          <a:xfrm>
            <a:off x="5124893" y="1488558"/>
            <a:ext cx="372140" cy="34024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6" name="Heptagon 5">
            <a:extLst>
              <a:ext uri="{FF2B5EF4-FFF2-40B4-BE49-F238E27FC236}">
                <a16:creationId xmlns:a16="http://schemas.microsoft.com/office/drawing/2014/main" id="{8561A952-7377-413B-B7F8-E101598D4CEA}"/>
              </a:ext>
            </a:extLst>
          </p:cNvPr>
          <p:cNvSpPr/>
          <p:nvPr/>
        </p:nvSpPr>
        <p:spPr>
          <a:xfrm>
            <a:off x="3532443" y="4525926"/>
            <a:ext cx="372140" cy="34024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</a:t>
            </a:r>
          </a:p>
        </p:txBody>
      </p:sp>
      <p:sp>
        <p:nvSpPr>
          <p:cNvPr id="7" name="Heptagon 6">
            <a:extLst>
              <a:ext uri="{FF2B5EF4-FFF2-40B4-BE49-F238E27FC236}">
                <a16:creationId xmlns:a16="http://schemas.microsoft.com/office/drawing/2014/main" id="{0BE6589C-5E45-49DF-A593-28F662CC9799}"/>
              </a:ext>
            </a:extLst>
          </p:cNvPr>
          <p:cNvSpPr/>
          <p:nvPr/>
        </p:nvSpPr>
        <p:spPr>
          <a:xfrm>
            <a:off x="5124893" y="2477386"/>
            <a:ext cx="372140" cy="34024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</a:t>
            </a:r>
          </a:p>
        </p:txBody>
      </p:sp>
      <p:sp>
        <p:nvSpPr>
          <p:cNvPr id="8" name="Heptagon 7">
            <a:extLst>
              <a:ext uri="{FF2B5EF4-FFF2-40B4-BE49-F238E27FC236}">
                <a16:creationId xmlns:a16="http://schemas.microsoft.com/office/drawing/2014/main" id="{B32229BE-D130-4BC4-94DD-E535C229FBD6}"/>
              </a:ext>
            </a:extLst>
          </p:cNvPr>
          <p:cNvSpPr/>
          <p:nvPr/>
        </p:nvSpPr>
        <p:spPr>
          <a:xfrm>
            <a:off x="5124893" y="3466214"/>
            <a:ext cx="372140" cy="34024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</a:t>
            </a:r>
          </a:p>
        </p:txBody>
      </p:sp>
      <p:sp>
        <p:nvSpPr>
          <p:cNvPr id="9" name="Heptagon 8">
            <a:extLst>
              <a:ext uri="{FF2B5EF4-FFF2-40B4-BE49-F238E27FC236}">
                <a16:creationId xmlns:a16="http://schemas.microsoft.com/office/drawing/2014/main" id="{BE8BEC43-B77F-4CE5-AC63-8F633CD6B077}"/>
              </a:ext>
            </a:extLst>
          </p:cNvPr>
          <p:cNvSpPr/>
          <p:nvPr/>
        </p:nvSpPr>
        <p:spPr>
          <a:xfrm>
            <a:off x="5200538" y="4525926"/>
            <a:ext cx="372140" cy="34024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</a:t>
            </a:r>
          </a:p>
        </p:txBody>
      </p:sp>
      <p:sp>
        <p:nvSpPr>
          <p:cNvPr id="10" name="Heptagon 9">
            <a:extLst>
              <a:ext uri="{FF2B5EF4-FFF2-40B4-BE49-F238E27FC236}">
                <a16:creationId xmlns:a16="http://schemas.microsoft.com/office/drawing/2014/main" id="{A4A296F2-B3EF-43C5-9FAD-C3C9043658D3}"/>
              </a:ext>
            </a:extLst>
          </p:cNvPr>
          <p:cNvSpPr/>
          <p:nvPr/>
        </p:nvSpPr>
        <p:spPr>
          <a:xfrm>
            <a:off x="6868633" y="4525926"/>
            <a:ext cx="372140" cy="34024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</a:t>
            </a:r>
          </a:p>
        </p:txBody>
      </p:sp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A8755418-2518-40CB-8654-EDE29CCA0643}"/>
              </a:ext>
            </a:extLst>
          </p:cNvPr>
          <p:cNvSpPr/>
          <p:nvPr/>
        </p:nvSpPr>
        <p:spPr>
          <a:xfrm>
            <a:off x="8659556" y="1135910"/>
            <a:ext cx="2106463" cy="1244009"/>
          </a:xfrm>
          <a:prstGeom prst="wedgeEllipseCallout">
            <a:avLst>
              <a:gd name="adj1" fmla="val -136928"/>
              <a:gd name="adj2" fmla="val -502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ne Meta Store for all  Databricks Data Assets at MGB</a:t>
            </a:r>
          </a:p>
        </p:txBody>
      </p:sp>
      <p:sp>
        <p:nvSpPr>
          <p:cNvPr id="12" name="Speech Bubble: Oval 11">
            <a:extLst>
              <a:ext uri="{FF2B5EF4-FFF2-40B4-BE49-F238E27FC236}">
                <a16:creationId xmlns:a16="http://schemas.microsoft.com/office/drawing/2014/main" id="{310DB937-C2A2-44E6-89F2-0874D8576D49}"/>
              </a:ext>
            </a:extLst>
          </p:cNvPr>
          <p:cNvSpPr/>
          <p:nvPr/>
        </p:nvSpPr>
        <p:spPr>
          <a:xfrm>
            <a:off x="8659556" y="2484471"/>
            <a:ext cx="2106463" cy="1244009"/>
          </a:xfrm>
          <a:prstGeom prst="wedgeEllipseCallout">
            <a:avLst>
              <a:gd name="adj1" fmla="val -136423"/>
              <a:gd name="adj2" fmla="val -31518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here can be a Catalog for each business unit</a:t>
            </a:r>
          </a:p>
        </p:txBody>
      </p:sp>
      <p:sp>
        <p:nvSpPr>
          <p:cNvPr id="13" name="Speech Bubble: Oval 12">
            <a:extLst>
              <a:ext uri="{FF2B5EF4-FFF2-40B4-BE49-F238E27FC236}">
                <a16:creationId xmlns:a16="http://schemas.microsoft.com/office/drawing/2014/main" id="{9C7EFB82-3B6C-408B-8406-14325645CF12}"/>
              </a:ext>
            </a:extLst>
          </p:cNvPr>
          <p:cNvSpPr/>
          <p:nvPr/>
        </p:nvSpPr>
        <p:spPr>
          <a:xfrm>
            <a:off x="615576" y="2977117"/>
            <a:ext cx="2106463" cy="1373368"/>
          </a:xfrm>
          <a:prstGeom prst="wedgeEllipseCallout">
            <a:avLst>
              <a:gd name="adj1" fmla="val 152299"/>
              <a:gd name="adj2" fmla="val 4379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ach Catalog or Business Unit can have multiple database/tables/view</a:t>
            </a:r>
          </a:p>
        </p:txBody>
      </p:sp>
    </p:spTree>
    <p:extLst>
      <p:ext uri="{BB962C8B-B14F-4D97-AF65-F5344CB8AC3E}">
        <p14:creationId xmlns:p14="http://schemas.microsoft.com/office/powerpoint/2010/main" val="3103292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>
            <a:extLst>
              <a:ext uri="{FF2B5EF4-FFF2-40B4-BE49-F238E27FC236}">
                <a16:creationId xmlns:a16="http://schemas.microsoft.com/office/drawing/2014/main" id="{E89D12C2-EBCB-4A56-A350-26F023A6F5DC}"/>
              </a:ext>
            </a:extLst>
          </p:cNvPr>
          <p:cNvSpPr/>
          <p:nvPr/>
        </p:nvSpPr>
        <p:spPr>
          <a:xfrm>
            <a:off x="6198093" y="1718988"/>
            <a:ext cx="4412510" cy="822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470B7EB-E14F-487A-8346-F9AC6FBE0F52}"/>
              </a:ext>
            </a:extLst>
          </p:cNvPr>
          <p:cNvSpPr/>
          <p:nvPr/>
        </p:nvSpPr>
        <p:spPr>
          <a:xfrm>
            <a:off x="6198093" y="3504018"/>
            <a:ext cx="4412510" cy="822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FBC4AA-095B-4C83-9E51-5A383AC2C6C3}"/>
              </a:ext>
            </a:extLst>
          </p:cNvPr>
          <p:cNvSpPr/>
          <p:nvPr/>
        </p:nvSpPr>
        <p:spPr>
          <a:xfrm>
            <a:off x="794697" y="1719579"/>
            <a:ext cx="4682048" cy="26069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Title 1">
            <a:extLst>
              <a:ext uri="{FF2B5EF4-FFF2-40B4-BE49-F238E27FC236}">
                <a16:creationId xmlns:a16="http://schemas.microsoft.com/office/drawing/2014/main" id="{7ABAB130-2385-4DF7-9B5B-EB8878EBCFA7}"/>
              </a:ext>
            </a:extLst>
          </p:cNvPr>
          <p:cNvSpPr txBox="1">
            <a:spLocks/>
          </p:cNvSpPr>
          <p:nvPr/>
        </p:nvSpPr>
        <p:spPr>
          <a:xfrm>
            <a:off x="838200" y="379225"/>
            <a:ext cx="10515599" cy="6817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dirty="0">
                <a:solidFill>
                  <a:schemeClr val="tx1"/>
                </a:solidFill>
              </a:rPr>
              <a:t>Unity Catalog differentiator : Without and With</a:t>
            </a:r>
            <a:endParaRPr lang="en-US" sz="4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6674FEA-3ECC-4B3B-9EB2-A968BDE89A80}"/>
              </a:ext>
            </a:extLst>
          </p:cNvPr>
          <p:cNvSpPr/>
          <p:nvPr/>
        </p:nvSpPr>
        <p:spPr>
          <a:xfrm>
            <a:off x="3977319" y="3261710"/>
            <a:ext cx="1211108" cy="345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ess Contro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849BD28-0C69-4ABF-90C7-ED7CEEFEA249}"/>
              </a:ext>
            </a:extLst>
          </p:cNvPr>
          <p:cNvSpPr/>
          <p:nvPr/>
        </p:nvSpPr>
        <p:spPr>
          <a:xfrm>
            <a:off x="3977319" y="2832756"/>
            <a:ext cx="1211108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Meta Stor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1E0E0B-A829-43D9-A328-966201B43AEE}"/>
              </a:ext>
            </a:extLst>
          </p:cNvPr>
          <p:cNvSpPr/>
          <p:nvPr/>
        </p:nvSpPr>
        <p:spPr>
          <a:xfrm>
            <a:off x="3977319" y="2414896"/>
            <a:ext cx="1211108" cy="3452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User/Group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F9B75D7-A5C2-46F1-AE28-1AE5A832F10F}"/>
              </a:ext>
            </a:extLst>
          </p:cNvPr>
          <p:cNvSpPr/>
          <p:nvPr/>
        </p:nvSpPr>
        <p:spPr>
          <a:xfrm>
            <a:off x="3977319" y="3696997"/>
            <a:ext cx="1211107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Compute Resourc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AC750A-4045-4E58-9885-2330B305CBD4}"/>
              </a:ext>
            </a:extLst>
          </p:cNvPr>
          <p:cNvSpPr txBox="1"/>
          <p:nvPr/>
        </p:nvSpPr>
        <p:spPr>
          <a:xfrm>
            <a:off x="1450376" y="1974612"/>
            <a:ext cx="650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50"/>
                </a:solidFill>
              </a:rPr>
              <a:t>DEV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2622AE4-99C6-4094-A44A-D0CFF378AA7C}"/>
              </a:ext>
            </a:extLst>
          </p:cNvPr>
          <p:cNvSpPr txBox="1"/>
          <p:nvPr/>
        </p:nvSpPr>
        <p:spPr>
          <a:xfrm>
            <a:off x="4270375" y="1933476"/>
            <a:ext cx="624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PRO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C519A23-CE83-4C59-BC9A-E0EF522AE6AE}"/>
              </a:ext>
            </a:extLst>
          </p:cNvPr>
          <p:cNvSpPr txBox="1"/>
          <p:nvPr/>
        </p:nvSpPr>
        <p:spPr>
          <a:xfrm>
            <a:off x="2708262" y="1974612"/>
            <a:ext cx="840765" cy="284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F0"/>
                </a:solidFill>
              </a:rPr>
              <a:t>PRE-PRO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01976AE-4A8C-40DC-9E7E-78D58BD3A885}"/>
              </a:ext>
            </a:extLst>
          </p:cNvPr>
          <p:cNvSpPr txBox="1"/>
          <p:nvPr/>
        </p:nvSpPr>
        <p:spPr>
          <a:xfrm>
            <a:off x="7695307" y="1732408"/>
            <a:ext cx="910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Unity Catalog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B83D2286-A54C-4A0C-A269-83666908EF36}"/>
              </a:ext>
            </a:extLst>
          </p:cNvPr>
          <p:cNvCxnSpPr>
            <a:cxnSpLocks/>
          </p:cNvCxnSpPr>
          <p:nvPr/>
        </p:nvCxnSpPr>
        <p:spPr>
          <a:xfrm>
            <a:off x="8393598" y="2565232"/>
            <a:ext cx="0" cy="938786"/>
          </a:xfrm>
          <a:prstGeom prst="straightConnector1">
            <a:avLst/>
          </a:prstGeom>
          <a:ln w="69850" cmpd="sng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FAEC0D7F-5EE1-4467-9F00-46E3DFFCBFD4}"/>
              </a:ext>
            </a:extLst>
          </p:cNvPr>
          <p:cNvSpPr txBox="1"/>
          <p:nvPr/>
        </p:nvSpPr>
        <p:spPr>
          <a:xfrm>
            <a:off x="1674417" y="1230290"/>
            <a:ext cx="2951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Existing HIVE Security Setup without Unity Catalo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93E4E77-1DF2-4510-BA3C-EFB9C19AC75A}"/>
              </a:ext>
            </a:extLst>
          </p:cNvPr>
          <p:cNvSpPr txBox="1"/>
          <p:nvPr/>
        </p:nvSpPr>
        <p:spPr>
          <a:xfrm>
            <a:off x="7458589" y="1230290"/>
            <a:ext cx="17001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With Unity Catalog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3F7682A-CC04-46E0-8A21-BCB652F9638F}"/>
              </a:ext>
            </a:extLst>
          </p:cNvPr>
          <p:cNvSpPr/>
          <p:nvPr/>
        </p:nvSpPr>
        <p:spPr>
          <a:xfrm>
            <a:off x="2523092" y="3261710"/>
            <a:ext cx="1211108" cy="345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ess Control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B57E986-4CC2-40B8-8C96-052BB888B735}"/>
              </a:ext>
            </a:extLst>
          </p:cNvPr>
          <p:cNvSpPr/>
          <p:nvPr/>
        </p:nvSpPr>
        <p:spPr>
          <a:xfrm>
            <a:off x="2523092" y="2832756"/>
            <a:ext cx="1211108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Meta Stor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A2C976F-4EA6-4966-859B-208FEA8F5682}"/>
              </a:ext>
            </a:extLst>
          </p:cNvPr>
          <p:cNvSpPr/>
          <p:nvPr/>
        </p:nvSpPr>
        <p:spPr>
          <a:xfrm>
            <a:off x="2523092" y="2414896"/>
            <a:ext cx="1211108" cy="3452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User/Group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4E6BBB7-417D-40E4-A351-0B44EF17C582}"/>
              </a:ext>
            </a:extLst>
          </p:cNvPr>
          <p:cNvSpPr/>
          <p:nvPr/>
        </p:nvSpPr>
        <p:spPr>
          <a:xfrm>
            <a:off x="2523092" y="3696997"/>
            <a:ext cx="1211107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Compute Resour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6B63B9C-73BA-4F38-8219-69ACB39EA3BD}"/>
              </a:ext>
            </a:extLst>
          </p:cNvPr>
          <p:cNvSpPr/>
          <p:nvPr/>
        </p:nvSpPr>
        <p:spPr>
          <a:xfrm>
            <a:off x="1068864" y="3261710"/>
            <a:ext cx="1211108" cy="345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ess Control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1752355-1214-4F8D-880A-190C692697B2}"/>
              </a:ext>
            </a:extLst>
          </p:cNvPr>
          <p:cNvSpPr/>
          <p:nvPr/>
        </p:nvSpPr>
        <p:spPr>
          <a:xfrm>
            <a:off x="1068864" y="2832756"/>
            <a:ext cx="1211108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Meta Stor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1C6C467-F33C-40D5-B05C-68929EC12C11}"/>
              </a:ext>
            </a:extLst>
          </p:cNvPr>
          <p:cNvSpPr/>
          <p:nvPr/>
        </p:nvSpPr>
        <p:spPr>
          <a:xfrm>
            <a:off x="1068864" y="2414896"/>
            <a:ext cx="1211108" cy="3452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User/Group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3C135A1-8246-45C1-B7BD-69476B5C3E2A}"/>
              </a:ext>
            </a:extLst>
          </p:cNvPr>
          <p:cNvSpPr/>
          <p:nvPr/>
        </p:nvSpPr>
        <p:spPr>
          <a:xfrm>
            <a:off x="1068864" y="3696997"/>
            <a:ext cx="1211107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Compute Resource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96AF75F-8321-4A2B-85AC-B4DB2145E76A}"/>
              </a:ext>
            </a:extLst>
          </p:cNvPr>
          <p:cNvSpPr/>
          <p:nvPr/>
        </p:nvSpPr>
        <p:spPr>
          <a:xfrm>
            <a:off x="9235414" y="3855607"/>
            <a:ext cx="1211107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Compute Resour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C518013-48B7-483D-87EA-1E57D0220543}"/>
              </a:ext>
            </a:extLst>
          </p:cNvPr>
          <p:cNvSpPr/>
          <p:nvPr/>
        </p:nvSpPr>
        <p:spPr>
          <a:xfrm>
            <a:off x="7781187" y="3855607"/>
            <a:ext cx="1211107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Compute Resourc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53A1B9A-44C1-4C86-AB7A-2CDD7C696D6B}"/>
              </a:ext>
            </a:extLst>
          </p:cNvPr>
          <p:cNvSpPr/>
          <p:nvPr/>
        </p:nvSpPr>
        <p:spPr>
          <a:xfrm>
            <a:off x="6326959" y="3855607"/>
            <a:ext cx="1211107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Compute Resource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A619087-2E7B-4F47-8896-A25870E0EC79}"/>
              </a:ext>
            </a:extLst>
          </p:cNvPr>
          <p:cNvSpPr txBox="1"/>
          <p:nvPr/>
        </p:nvSpPr>
        <p:spPr>
          <a:xfrm>
            <a:off x="6617482" y="3550921"/>
            <a:ext cx="650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50"/>
                </a:solidFill>
              </a:rPr>
              <a:t>DEV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CBF5177-54D0-4497-B6EB-90BCFDBA0633}"/>
              </a:ext>
            </a:extLst>
          </p:cNvPr>
          <p:cNvSpPr txBox="1"/>
          <p:nvPr/>
        </p:nvSpPr>
        <p:spPr>
          <a:xfrm>
            <a:off x="9533184" y="3509785"/>
            <a:ext cx="624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PROD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42C330B-D207-40DF-99FB-BA9627BB10E7}"/>
              </a:ext>
            </a:extLst>
          </p:cNvPr>
          <p:cNvSpPr txBox="1"/>
          <p:nvPr/>
        </p:nvSpPr>
        <p:spPr>
          <a:xfrm>
            <a:off x="7886008" y="3550921"/>
            <a:ext cx="840765" cy="284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F0"/>
                </a:solidFill>
              </a:rPr>
              <a:t>PRE-PROD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5178AC3-771E-41FA-A6EC-AD0654C873C7}"/>
              </a:ext>
            </a:extLst>
          </p:cNvPr>
          <p:cNvSpPr/>
          <p:nvPr/>
        </p:nvSpPr>
        <p:spPr>
          <a:xfrm>
            <a:off x="9168228" y="2086586"/>
            <a:ext cx="1211108" cy="345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ess Control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BEED498-784D-4F03-97F9-7DF91540665B}"/>
              </a:ext>
            </a:extLst>
          </p:cNvPr>
          <p:cNvSpPr/>
          <p:nvPr/>
        </p:nvSpPr>
        <p:spPr>
          <a:xfrm>
            <a:off x="7798794" y="2086587"/>
            <a:ext cx="1211108" cy="345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Meta Store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392D515-30BD-40C0-9D9A-77493E273ECA}"/>
              </a:ext>
            </a:extLst>
          </p:cNvPr>
          <p:cNvSpPr/>
          <p:nvPr/>
        </p:nvSpPr>
        <p:spPr>
          <a:xfrm>
            <a:off x="6373623" y="2086588"/>
            <a:ext cx="1211108" cy="3452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User/Group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604D77F6-9508-4D29-B691-4452D1930E9F}"/>
              </a:ext>
            </a:extLst>
          </p:cNvPr>
          <p:cNvCxnSpPr>
            <a:cxnSpLocks/>
          </p:cNvCxnSpPr>
          <p:nvPr/>
        </p:nvCxnSpPr>
        <p:spPr>
          <a:xfrm>
            <a:off x="9790007" y="2541543"/>
            <a:ext cx="0" cy="938786"/>
          </a:xfrm>
          <a:prstGeom prst="straightConnector1">
            <a:avLst/>
          </a:prstGeom>
          <a:ln w="69850" cmpd="sng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E53EDABB-56E1-4242-AD67-830101928B9D}"/>
              </a:ext>
            </a:extLst>
          </p:cNvPr>
          <p:cNvCxnSpPr>
            <a:cxnSpLocks/>
          </p:cNvCxnSpPr>
          <p:nvPr/>
        </p:nvCxnSpPr>
        <p:spPr>
          <a:xfrm>
            <a:off x="6855421" y="2541543"/>
            <a:ext cx="0" cy="938786"/>
          </a:xfrm>
          <a:prstGeom prst="straightConnector1">
            <a:avLst/>
          </a:prstGeom>
          <a:ln w="69850" cmpd="sng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5660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Title 1">
            <a:extLst>
              <a:ext uri="{FF2B5EF4-FFF2-40B4-BE49-F238E27FC236}">
                <a16:creationId xmlns:a16="http://schemas.microsoft.com/office/drawing/2014/main" id="{7ABAB130-2385-4DF7-9B5B-EB8878EBCFA7}"/>
              </a:ext>
            </a:extLst>
          </p:cNvPr>
          <p:cNvSpPr txBox="1">
            <a:spLocks/>
          </p:cNvSpPr>
          <p:nvPr/>
        </p:nvSpPr>
        <p:spPr>
          <a:xfrm>
            <a:off x="540743" y="87109"/>
            <a:ext cx="10515599" cy="9326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Unity Catalog: Architecture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C576EAAE-1821-4B55-978A-C6486EE249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694" y="1323974"/>
            <a:ext cx="10208611" cy="444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13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Title 1">
            <a:extLst>
              <a:ext uri="{FF2B5EF4-FFF2-40B4-BE49-F238E27FC236}">
                <a16:creationId xmlns:a16="http://schemas.microsoft.com/office/drawing/2014/main" id="{7ABAB130-2385-4DF7-9B5B-EB8878EBCFA7}"/>
              </a:ext>
            </a:extLst>
          </p:cNvPr>
          <p:cNvSpPr txBox="1">
            <a:spLocks/>
          </p:cNvSpPr>
          <p:nvPr/>
        </p:nvSpPr>
        <p:spPr>
          <a:xfrm>
            <a:off x="838199" y="291090"/>
            <a:ext cx="10515599" cy="9326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Unity Catalog: Security Structure</a:t>
            </a:r>
          </a:p>
        </p:txBody>
      </p:sp>
      <p:pic>
        <p:nvPicPr>
          <p:cNvPr id="84994" name="Picture 4">
            <a:extLst>
              <a:ext uri="{FF2B5EF4-FFF2-40B4-BE49-F238E27FC236}">
                <a16:creationId xmlns:a16="http://schemas.microsoft.com/office/drawing/2014/main" id="{833481F1-D847-412C-8E90-A02A4C3AC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198" y="1659817"/>
            <a:ext cx="10515599" cy="436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303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939" y="236698"/>
            <a:ext cx="10902950" cy="509198"/>
          </a:xfrm>
        </p:spPr>
        <p:txBody>
          <a:bodyPr/>
          <a:lstStyle/>
          <a:p>
            <a:r>
              <a:rPr lang="en-US"/>
              <a:t>Implementation Approach and Timeline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824132" y="6362187"/>
            <a:ext cx="4219787" cy="19947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nd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Analytic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rganization   |   Confidential—do not copy or distribut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0762412-E073-4DC6-AC90-52B378FE2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939" y="770204"/>
            <a:ext cx="10902950" cy="5229903"/>
          </a:xfrm>
        </p:spPr>
        <p:txBody>
          <a:bodyPr vert="horz" lIns="0" tIns="0" rIns="0" bIns="0" rtlCol="0" anchor="t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print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?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POC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y areas of impact, </a:t>
            </a: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lementation steps, Integration compatibility with Collibra, existing database and tables migration plan and effort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print ? – Implement Unity Catalog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in DEV and test </a:t>
            </a: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atibility with Collibra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print ? – Implement Unity Catalog in PRE PROD and PROD, test </a:t>
            </a: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th Collibra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5373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Title 1">
            <a:extLst>
              <a:ext uri="{FF2B5EF4-FFF2-40B4-BE49-F238E27FC236}">
                <a16:creationId xmlns:a16="http://schemas.microsoft.com/office/drawing/2014/main" id="{7ABAB130-2385-4DF7-9B5B-EB8878EBCFA7}"/>
              </a:ext>
            </a:extLst>
          </p:cNvPr>
          <p:cNvSpPr txBox="1">
            <a:spLocks/>
          </p:cNvSpPr>
          <p:nvPr/>
        </p:nvSpPr>
        <p:spPr>
          <a:xfrm>
            <a:off x="838200" y="379225"/>
            <a:ext cx="10515599" cy="6817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dirty="0">
                <a:solidFill>
                  <a:schemeClr val="tx1"/>
                </a:solidFill>
              </a:rPr>
              <a:t>Unity Catalog differentiator : Without and With</a:t>
            </a:r>
            <a:endParaRPr lang="en-US" sz="4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1922" name="Picture 1" descr="Diagram&#10;&#10;Description automatically generated">
            <a:extLst>
              <a:ext uri="{FF2B5EF4-FFF2-40B4-BE49-F238E27FC236}">
                <a16:creationId xmlns:a16="http://schemas.microsoft.com/office/drawing/2014/main" id="{E8F711B2-FF34-4DAD-83DC-EE81DD86E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199" y="1589081"/>
            <a:ext cx="10515599" cy="4285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376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3.xml><?xml version="1.0" encoding="utf-8"?>
<a:theme xmlns:a="http://schemas.openxmlformats.org/drawingml/2006/main" name="2_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833FF2A7A135478F82BBE65B821FEA" ma:contentTypeVersion="17" ma:contentTypeDescription="Create a new document." ma:contentTypeScope="" ma:versionID="73219967da345eec19c14a0f2fd14945">
  <xsd:schema xmlns:xsd="http://www.w3.org/2001/XMLSchema" xmlns:xs="http://www.w3.org/2001/XMLSchema" xmlns:p="http://schemas.microsoft.com/office/2006/metadata/properties" xmlns:ns2="c598ef05-88b7-40a2-8348-7c84980812c2" xmlns:ns3="e6be22b2-366a-447d-8215-a9d01b1bccbf" xmlns:ns4="d1680238-2266-4ab1-9ebd-8eb4f05a8cbc" targetNamespace="http://schemas.microsoft.com/office/2006/metadata/properties" ma:root="true" ma:fieldsID="16f2492751dd840a9e5393e654d77155" ns2:_="" ns3:_="" ns4:_="">
    <xsd:import namespace="c598ef05-88b7-40a2-8348-7c84980812c2"/>
    <xsd:import namespace="e6be22b2-366a-447d-8215-a9d01b1bccbf"/>
    <xsd:import namespace="d1680238-2266-4ab1-9ebd-8eb4f05a8cb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Comme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8ef05-88b7-40a2-8348-7c84980812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60c9a04-0a06-4c47-89e2-9dbcedd85f4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Comments" ma:index="23" nillable="true" ma:displayName="Comments" ma:format="Dropdown" ma:internalName="Comments">
      <xsd:simpleType>
        <xsd:restriction base="dms:Note">
          <xsd:maxLength value="255"/>
        </xsd:restriction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be22b2-366a-447d-8215-a9d01b1bccb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680238-2266-4ab1-9ebd-8eb4f05a8cbc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a2cf1e7f-6e89-4151-a87c-21e4cbbfcc25}" ma:internalName="TaxCatchAll" ma:showField="CatchAllData" ma:web="e6be22b2-366a-447d-8215-a9d01b1bcc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1680238-2266-4ab1-9ebd-8eb4f05a8cbc" xsi:nil="true"/>
    <lcf76f155ced4ddcb4097134ff3c332f xmlns="c598ef05-88b7-40a2-8348-7c84980812c2">
      <Terms xmlns="http://schemas.microsoft.com/office/infopath/2007/PartnerControls"/>
    </lcf76f155ced4ddcb4097134ff3c332f>
    <SharedWithUsers xmlns="e6be22b2-366a-447d-8215-a9d01b1bccbf">
      <UserInfo>
        <DisplayName>Kumar, Yogesh</DisplayName>
        <AccountId>154</AccountId>
        <AccountType/>
      </UserInfo>
      <UserInfo>
        <DisplayName>Radhakrishnan, Naveen Krishnan</DisplayName>
        <AccountId>285</AccountId>
        <AccountType/>
      </UserInfo>
      <UserInfo>
        <DisplayName>Guzman, Christopher Jerome</DisplayName>
        <AccountId>227</AccountId>
        <AccountType/>
      </UserInfo>
      <UserInfo>
        <DisplayName>Thomas, Priscilla</DisplayName>
        <AccountId>310</AccountId>
        <AccountType/>
      </UserInfo>
      <UserInfo>
        <DisplayName>Chowdhury, Anjuman</DisplayName>
        <AccountId>164</AccountId>
        <AccountType/>
      </UserInfo>
    </SharedWithUsers>
    <Comments xmlns="c598ef05-88b7-40a2-8348-7c84980812c2" xsi:nil="true"/>
  </documentManagement>
</p:properties>
</file>

<file path=customXml/itemProps1.xml><?xml version="1.0" encoding="utf-8"?>
<ds:datastoreItem xmlns:ds="http://schemas.openxmlformats.org/officeDocument/2006/customXml" ds:itemID="{FEAB7F06-A669-4797-AA0A-5D016E3FA0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D747B4-3DDF-4205-92BC-755D556A4FA9}">
  <ds:schemaRefs>
    <ds:schemaRef ds:uri="c598ef05-88b7-40a2-8348-7c84980812c2"/>
    <ds:schemaRef ds:uri="d1680238-2266-4ab1-9ebd-8eb4f05a8cbc"/>
    <ds:schemaRef ds:uri="e6be22b2-366a-447d-8215-a9d01b1bccb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A7EA23E-94E8-4EDD-8747-ABFB3D2CAE64}">
  <ds:schemaRefs>
    <ds:schemaRef ds:uri="http://schemas.microsoft.com/office/2006/metadata/properties"/>
    <ds:schemaRef ds:uri="http://purl.org/dc/terms/"/>
    <ds:schemaRef ds:uri="e6be22b2-366a-447d-8215-a9d01b1bccbf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d1680238-2266-4ab1-9ebd-8eb4f05a8cbc"/>
    <ds:schemaRef ds:uri="http://schemas.microsoft.com/office/2006/documentManagement/types"/>
    <ds:schemaRef ds:uri="c598ef05-88b7-40a2-8348-7c84980812c2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909</TotalTime>
  <Words>432</Words>
  <Application>Microsoft Macintosh PowerPoint</Application>
  <PresentationFormat>Widescreen</PresentationFormat>
  <Paragraphs>79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Arial</vt:lpstr>
      <vt:lpstr>Calibri</vt:lpstr>
      <vt:lpstr>Calibri Light</vt:lpstr>
      <vt:lpstr>Calibri Light (Headings)</vt:lpstr>
      <vt:lpstr>Century Gothic</vt:lpstr>
      <vt:lpstr>Georgia</vt:lpstr>
      <vt:lpstr>Palatino Linotype</vt:lpstr>
      <vt:lpstr>System Font Regular</vt:lpstr>
      <vt:lpstr>Wingdings</vt:lpstr>
      <vt:lpstr>Office Theme</vt:lpstr>
      <vt:lpstr>MGB_standard_template_082020</vt:lpstr>
      <vt:lpstr>2_MGB_standard_template_082020</vt:lpstr>
      <vt:lpstr>think-cell Slide</vt:lpstr>
      <vt:lpstr>Table of Contents</vt:lpstr>
      <vt:lpstr>Objectives </vt:lpstr>
      <vt:lpstr>Current State – Databricks Clusters</vt:lpstr>
      <vt:lpstr>Consistent Data Security Across all Subscription at MGB</vt:lpstr>
      <vt:lpstr>PowerPoint Presentation</vt:lpstr>
      <vt:lpstr>PowerPoint Presentation</vt:lpstr>
      <vt:lpstr>PowerPoint Presentation</vt:lpstr>
      <vt:lpstr>Implementation Approach and Timelin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umar, Yogesh</dc:creator>
  <cp:lastModifiedBy>Kumar, Yogesh Y.</cp:lastModifiedBy>
  <cp:revision>18</cp:revision>
  <dcterms:created xsi:type="dcterms:W3CDTF">2022-11-15T15:40:12Z</dcterms:created>
  <dcterms:modified xsi:type="dcterms:W3CDTF">2023-08-29T15:3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833FF2A7A135478F82BBE65B821FEA</vt:lpwstr>
  </property>
  <property fmtid="{D5CDD505-2E9C-101B-9397-08002B2CF9AE}" pid="3" name="MediaServiceImageTags">
    <vt:lpwstr/>
  </property>
</Properties>
</file>